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13.xml" ContentType="application/vnd.openxmlformats-officedocument.presentationml.slide+xml"/>
  <Override PartName="/ppt/tags/tag1342.xml" ContentType="application/vnd.openxmlformats-officedocument.presentationml.tags+xml"/>
  <Override PartName="/ppt/tags/tag1347.xml" ContentType="application/vnd.openxmlformats-officedocument.presentationml.tags+xml"/>
  <Override PartName="/ppt/tags/tag1355.xml" ContentType="application/vnd.openxmlformats-officedocument.presentationml.tags+xml"/>
  <Override PartName="/ppt/tags/tag1368.xml" ContentType="application/vnd.openxmlformats-officedocument.presentationml.tags+xml"/>
  <Override PartName="/ppt/tags/tag1350.xml" ContentType="application/vnd.openxmlformats-officedocument.presentationml.tags+xml"/>
  <Override PartName="/ppt/tags/tag136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36.xml" ContentType="application/vnd.openxmlformats-officedocument.presentationml.tags+xml"/>
  <Override PartName="/ppt/tags/tag1331.xml" ContentType="application/vnd.openxmlformats-officedocument.presentationml.tags+xml"/>
  <Override PartName="/ppt/tags/tag1345.xml" ContentType="application/vnd.openxmlformats-officedocument.presentationml.tags+xml"/>
  <Override PartName="/ppt/tags/tag1358.xml" ContentType="application/vnd.openxmlformats-officedocument.presentationml.tags+xml"/>
  <Override PartName="/ppt/tags/tag1335.xml" ContentType="application/vnd.openxmlformats-officedocument.presentationml.tags+xml"/>
  <Override PartName="/ppt/tags/tag1340.xml" ContentType="application/vnd.openxmlformats-officedocument.presentationml.tags+xml"/>
  <Override PartName="/ppt/tags/tag1353.xml" ContentType="application/vnd.openxmlformats-officedocument.presentationml.tags+xml"/>
  <Override PartName="/ppt/tags/tag1361.xml" ContentType="application/vnd.openxmlformats-officedocument.presentationml.tags+xml"/>
  <Override PartName="/ppt/tags/tag1366.xml" ContentType="application/vnd.openxmlformats-officedocument.presentationml.tags+xml"/>
  <Override PartName="/ppt/tags/tag1369.xml" ContentType="application/vnd.openxmlformats-officedocument.presentationml.tags+xml"/>
  <Override PartName="/ppt/tags/tag1334.xml" ContentType="application/vnd.openxmlformats-officedocument.presentationml.tags+xml"/>
  <Override PartName="/ppt/tags/tag1344.xml" ContentType="application/vnd.openxmlformats-officedocument.presentationml.tags+xml"/>
  <Override PartName="/ppt/tags/tag1352.xml" ContentType="application/vnd.openxmlformats-officedocument.presentationml.tags+xml"/>
  <Override PartName="/ppt/tags/tag1357.xml" ContentType="application/vnd.openxmlformats-officedocument.presentationml.tags+xml"/>
  <Override PartName="/ppt/tags/tag1365.xml" ContentType="application/vnd.openxmlformats-officedocument.presentationml.tags+xml"/>
  <Override PartName="/ppt/tags/tag1339.xml" ContentType="application/vnd.openxmlformats-officedocument.presentationml.tags+xml"/>
  <Override PartName="/ppt/tags/tag1348.xml" ContentType="application/vnd.openxmlformats-officedocument.presentationml.tags+xml"/>
  <Override PartName="/ppt/tags/tag1360.xml" ContentType="application/vnd.openxmlformats-officedocument.presentationml.tags+xml"/>
  <Override PartName="/ppt/tags/tag1333.xml" ContentType="application/vnd.openxmlformats-officedocument.presentationml.tags+xml"/>
  <Override PartName="/ppt/tags/tag1338.xml" ContentType="application/vnd.openxmlformats-officedocument.presentationml.tags+xml"/>
  <Override PartName="/ppt/tags/tag1343.xml" ContentType="application/vnd.openxmlformats-officedocument.presentationml.tags+xml"/>
  <Override PartName="/ppt/tags/tag1351.xml" ContentType="application/vnd.openxmlformats-officedocument.presentationml.tags+xml"/>
  <Override PartName="/ppt/tags/tag1356.xml" ContentType="application/vnd.openxmlformats-officedocument.presentationml.tags+xml"/>
  <Override PartName="/ppt/tags/tag1359.xml" ContentType="application/vnd.openxmlformats-officedocument.presentationml.tags+xml"/>
  <Override PartName="/ppt/tags/tag1364.xml" ContentType="application/vnd.openxmlformats-officedocument.presentationml.tags+xml"/>
  <Override PartName="/ppt/notesSlides/notesSlide21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337.xml" ContentType="application/vnd.openxmlformats-officedocument.presentationml.tags+xml"/>
  <Override PartName="/ppt/tags/tag1332.xml" ContentType="application/vnd.openxmlformats-officedocument.presentationml.tags+xml"/>
  <Override PartName="/ppt/tags/tag1341.xml" ContentType="application/vnd.openxmlformats-officedocument.presentationml.tags+xml"/>
  <Override PartName="/ppt/tags/tag1346.xml" ContentType="application/vnd.openxmlformats-officedocument.presentationml.tags+xml"/>
  <Override PartName="/ppt/tags/tag1354.xml" ContentType="application/vnd.openxmlformats-officedocument.presentationml.tags+xml"/>
  <Override PartName="/ppt/tags/tag1362.xml" ContentType="application/vnd.openxmlformats-officedocument.presentationml.tags+xml"/>
  <Override PartName="/ppt/tags/tag1367.xml" ContentType="application/vnd.openxmlformats-officedocument.presentationml.tags+xml"/>
  <Override PartName="/ppt/charts/chart50.xml" ContentType="application/vnd.openxmlformats-officedocument.drawingml.chart+xml"/>
  <Override PartName="/ppt/tags/tag1349.xml" ContentType="application/vnd.openxmlformats-officedocument.presentationml.tags+xml"/>
  <Override PartName="/ppt/tags/tag1370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0" r:id="rId21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13.xml" Id="rId216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50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9.xlsb" Id="rId1" /></Relationships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078977932636469E-2"/>
          <c:y val="7.4574961360123648E-2"/>
          <c:w val="0.97584204413472708"/>
          <c:h val="0.85085007727975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xVal>
            <c:numRef>
              <c:f>Sheet1!$A$2:$G$2</c:f>
              <c:numCache>
                <c:formatCode>General</c:formatCode>
                <c:ptCount val="7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2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</c:numCache>
            </c:numRef>
          </c:xVal>
          <c:y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F3E-48CF-BC82-2E3DA18FFFA2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x"/>
            <c:errBarType val="plus"/>
            <c:errValType val="cust"/>
            <c:noEndCap val="1"/>
            <c:plus>
              <c:numRef>
                <c:f>Sheet1!$A$3:$G$3</c:f>
                <c:numCache>
                  <c:formatCode>General</c:formatCode>
                  <c:ptCount val="7"/>
                  <c:pt idx="0">
                    <c:v>-3</c:v>
                  </c:pt>
                  <c:pt idx="1">
                    <c:v>-2</c:v>
                  </c:pt>
                  <c:pt idx="2">
                    <c:v>-3</c:v>
                  </c:pt>
                  <c:pt idx="3">
                    <c:v>-6</c:v>
                  </c:pt>
                  <c:pt idx="4">
                    <c:v>-5</c:v>
                  </c:pt>
                  <c:pt idx="5">
                    <c:v>-3</c:v>
                  </c:pt>
                  <c:pt idx="6">
                    <c:v>-5</c:v>
                  </c:pt>
                </c:numCache>
              </c:numRef>
            </c:plus>
            <c:spPr>
              <a:ln w="152400" cmpd="sng" algn="ctr">
                <a:solidFill>
                  <a:schemeClr val="accent5"/>
                </a:solidFill>
                <a:prstDash val="solid"/>
              </a:ln>
            </c:spPr>
          </c:errBars>
          <c:xVal>
            <c:numRef>
              <c:f>Sheet1!$A$4:$G$4</c:f>
              <c:numCache>
                <c:formatCode>General</c:formatCode>
                <c:ptCount val="7"/>
                <c:pt idx="0">
                  <c:v>10</c:v>
                </c:pt>
                <c:pt idx="1">
                  <c:v>8</c:v>
                </c:pt>
                <c:pt idx="2">
                  <c:v>9</c:v>
                </c:pt>
                <c:pt idx="3">
                  <c:v>8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</c:numCache>
            </c:numRef>
          </c:xVal>
          <c:y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F3E-48CF-BC82-2E3DA18FFFA2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F3E-48CF-BC82-2E3DA18FFFA2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F3E-48CF-BC82-2E3DA18FFFA2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F3E-48CF-BC82-2E3DA18FFFA2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F3E-48CF-BC82-2E3DA18FFFA2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F3E-48CF-BC82-2E3DA18FFFA2}"/>
              </c:ext>
            </c:extLst>
          </c:dPt>
          <c:dPt>
            <c:idx val="5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F3E-48CF-BC82-2E3DA18FFFA2}"/>
              </c:ext>
            </c:extLst>
          </c:dPt>
          <c:dPt>
            <c:idx val="6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F3E-48CF-BC82-2E3DA18FFFA2}"/>
              </c:ext>
            </c:extLst>
          </c:dPt>
          <c:dLbls>
            <c:dLbl>
              <c:idx val="0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F3E-48CF-BC82-2E3DA18FFFA2}"/>
                </c:ext>
              </c:extLst>
            </c:dLbl>
            <c:dLbl>
              <c:idx val="2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3E-48CF-BC82-2E3DA18FFFA2}"/>
                </c:ext>
              </c:extLst>
            </c:dLbl>
            <c:dLbl>
              <c:idx val="4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F3E-48CF-BC82-2E3DA18FFFA2}"/>
                </c:ext>
              </c:extLst>
            </c:dLbl>
            <c:dLbl>
              <c:idx val="5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F3E-48CF-BC82-2E3DA18FFFA2}"/>
                </c:ext>
              </c:extLst>
            </c:dLbl>
            <c:dLbl>
              <c:idx val="6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F3E-48CF-BC82-2E3DA18FFF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5:$G$5</c:f>
              <c:numCache>
                <c:formatCode>General</c:formatCode>
                <c:ptCount val="7"/>
                <c:pt idx="0">
                  <c:v>8.5</c:v>
                </c:pt>
                <c:pt idx="1">
                  <c:v>7</c:v>
                </c:pt>
                <c:pt idx="2">
                  <c:v>7.5</c:v>
                </c:pt>
                <c:pt idx="3">
                  <c:v>5</c:v>
                </c:pt>
                <c:pt idx="4">
                  <c:v>3.5</c:v>
                </c:pt>
                <c:pt idx="5">
                  <c:v>5.5</c:v>
                </c:pt>
                <c:pt idx="6">
                  <c:v>5.5</c:v>
                </c:pt>
              </c:numCache>
            </c:numRef>
          </c:xVal>
          <c:y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7F3E-48CF-BC82-2E3DA18FF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"/>
        <c:axId val="4"/>
      </c:scatterChart>
      <c:valAx>
        <c:axId val="4"/>
        <c:scaling>
          <c:orientation val="maxMin"/>
          <c:max val="6.5"/>
          <c:min val="-0.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3.xml.rels>&#65279;<?xml version="1.0" encoding="utf-8"?><Relationships xmlns="http://schemas.openxmlformats.org/package/2006/relationships"><Relationship Type="http://schemas.openxmlformats.org/officeDocument/2006/relationships/slide" Target="/ppt/slides/slide213.xml" Id="rId2" /><Relationship Type="http://schemas.openxmlformats.org/officeDocument/2006/relationships/notesMaster" Target="/ppt/notesMasters/notesMaster1.xml" Id="rId1" /></Relationships>
</file>

<file path=ppt/notesSlides/notesSlide2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86868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3.xml.rels>&#65279;<?xml version="1.0" encoding="utf-8"?><Relationships xmlns="http://schemas.openxmlformats.org/package/2006/relationships"><Relationship Type="http://schemas.openxmlformats.org/officeDocument/2006/relationships/tags" Target="/ppt/tags/tag1342.xml" Id="rId13" /><Relationship Type="http://schemas.openxmlformats.org/officeDocument/2006/relationships/tags" Target="/ppt/tags/tag1347.xml" Id="rId18" /><Relationship Type="http://schemas.openxmlformats.org/officeDocument/2006/relationships/tags" Target="/ppt/tags/tag1355.xml" Id="rId26" /><Relationship Type="http://schemas.openxmlformats.org/officeDocument/2006/relationships/tags" Target="/ppt/tags/tag1368.xml" Id="rId39" /><Relationship Type="http://schemas.openxmlformats.org/officeDocument/2006/relationships/tags" Target="/ppt/tags/tag1350.xml" Id="rId21" /><Relationship Type="http://schemas.openxmlformats.org/officeDocument/2006/relationships/tags" Target="/ppt/tags/tag1363.xml" Id="rId34" /><Relationship Type="http://schemas.openxmlformats.org/officeDocument/2006/relationships/slideLayout" Target="/ppt/slideLayouts/slideLayout5.xml" Id="rId42" /><Relationship Type="http://schemas.openxmlformats.org/officeDocument/2006/relationships/tags" Target="/ppt/tags/tag1336.xml" Id="rId7" /><Relationship Type="http://schemas.openxmlformats.org/officeDocument/2006/relationships/tags" Target="/ppt/tags/tag1331.xml" Id="rId2" /><Relationship Type="http://schemas.openxmlformats.org/officeDocument/2006/relationships/tags" Target="/ppt/tags/tag1345.xml" Id="rId16" /><Relationship Type="http://schemas.openxmlformats.org/officeDocument/2006/relationships/tags" Target="/ppt/tags/tag1358.xml" Id="rId29" /><Relationship Type="http://schemas.openxmlformats.org/officeDocument/2006/relationships/vmlDrawing" Target="/ppt/drawings/vmlDrawing217.vml" Id="rId1" /><Relationship Type="http://schemas.openxmlformats.org/officeDocument/2006/relationships/tags" Target="/ppt/tags/tag1335.xml" Id="rId6" /><Relationship Type="http://schemas.openxmlformats.org/officeDocument/2006/relationships/tags" Target="/ppt/tags/tag1340.xml" Id="rId11" /><Relationship Type="http://schemas.openxmlformats.org/officeDocument/2006/relationships/tags" Target="/ppt/tags/tag1353.xml" Id="rId24" /><Relationship Type="http://schemas.openxmlformats.org/officeDocument/2006/relationships/tags" Target="/ppt/tags/tag1361.xml" Id="rId32" /><Relationship Type="http://schemas.openxmlformats.org/officeDocument/2006/relationships/tags" Target="/ppt/tags/tag1366.xml" Id="rId37" /><Relationship Type="http://schemas.openxmlformats.org/officeDocument/2006/relationships/tags" Target="/ppt/tags/tag1369.xml" Id="rId40" /><Relationship Type="http://schemas.openxmlformats.org/officeDocument/2006/relationships/image" Target="/ppt/media/image4.emf" Id="rId45" /><Relationship Type="http://schemas.openxmlformats.org/officeDocument/2006/relationships/tags" Target="/ppt/tags/tag1334.xml" Id="rId5" /><Relationship Type="http://schemas.openxmlformats.org/officeDocument/2006/relationships/tags" Target="/ppt/tags/tag1344.xml" Id="rId15" /><Relationship Type="http://schemas.openxmlformats.org/officeDocument/2006/relationships/tags" Target="/ppt/tags/tag1352.xml" Id="rId23" /><Relationship Type="http://schemas.openxmlformats.org/officeDocument/2006/relationships/tags" Target="/ppt/tags/tag1357.xml" Id="rId28" /><Relationship Type="http://schemas.openxmlformats.org/officeDocument/2006/relationships/tags" Target="/ppt/tags/tag1365.xml" Id="rId36" /><Relationship Type="http://schemas.openxmlformats.org/officeDocument/2006/relationships/tags" Target="/ppt/tags/tag1339.xml" Id="rId10" /><Relationship Type="http://schemas.openxmlformats.org/officeDocument/2006/relationships/tags" Target="/ppt/tags/tag1348.xml" Id="rId19" /><Relationship Type="http://schemas.openxmlformats.org/officeDocument/2006/relationships/tags" Target="/ppt/tags/tag1360.xml" Id="rId31" /><Relationship Type="http://schemas.openxmlformats.org/officeDocument/2006/relationships/oleObject" Target="/ppt/embeddings/oleObject217.bin" Id="rId44" /><Relationship Type="http://schemas.openxmlformats.org/officeDocument/2006/relationships/tags" Target="/ppt/tags/tag1333.xml" Id="rId4" /><Relationship Type="http://schemas.openxmlformats.org/officeDocument/2006/relationships/tags" Target="/ppt/tags/tag1338.xml" Id="rId9" /><Relationship Type="http://schemas.openxmlformats.org/officeDocument/2006/relationships/tags" Target="/ppt/tags/tag1343.xml" Id="rId14" /><Relationship Type="http://schemas.openxmlformats.org/officeDocument/2006/relationships/tags" Target="/ppt/tags/tag1351.xml" Id="rId22" /><Relationship Type="http://schemas.openxmlformats.org/officeDocument/2006/relationships/tags" Target="/ppt/tags/tag1356.xml" Id="rId27" /><Relationship Type="http://schemas.openxmlformats.org/officeDocument/2006/relationships/tags" Target="/ppt/tags/tag1359.xml" Id="rId30" /><Relationship Type="http://schemas.openxmlformats.org/officeDocument/2006/relationships/tags" Target="/ppt/tags/tag1364.xml" Id="rId35" /><Relationship Type="http://schemas.openxmlformats.org/officeDocument/2006/relationships/notesSlide" Target="/ppt/notesSlides/notesSlide213.xml" Id="rId43" /><Relationship Type="http://schemas.openxmlformats.org/officeDocument/2006/relationships/tags" Target="/ppt/tags/tag1337.xml" Id="rId8" /><Relationship Type="http://schemas.openxmlformats.org/officeDocument/2006/relationships/tags" Target="/ppt/tags/tag1332.xml" Id="rId3" /><Relationship Type="http://schemas.openxmlformats.org/officeDocument/2006/relationships/tags" Target="/ppt/tags/tag1341.xml" Id="rId12" /><Relationship Type="http://schemas.openxmlformats.org/officeDocument/2006/relationships/tags" Target="/ppt/tags/tag1346.xml" Id="rId17" /><Relationship Type="http://schemas.openxmlformats.org/officeDocument/2006/relationships/tags" Target="/ppt/tags/tag1354.xml" Id="rId25" /><Relationship Type="http://schemas.openxmlformats.org/officeDocument/2006/relationships/tags" Target="/ppt/tags/tag1362.xml" Id="rId33" /><Relationship Type="http://schemas.openxmlformats.org/officeDocument/2006/relationships/tags" Target="/ppt/tags/tag1367.xml" Id="rId38" /><Relationship Type="http://schemas.openxmlformats.org/officeDocument/2006/relationships/chart" Target="/ppt/charts/chart50.xml" Id="rId46" /><Relationship Type="http://schemas.openxmlformats.org/officeDocument/2006/relationships/tags" Target="/ppt/tags/tag1349.xml" Id="rId20" /><Relationship Type="http://schemas.openxmlformats.org/officeDocument/2006/relationships/tags" Target="/ppt/tags/tag1370.xml" Id="rId41" /></Relationships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8349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7" name="think-cell 幻灯片" r:id="rId44" imgW="349" imgH="350" progId="TCLayout.ActiveDocument.1">
                  <p:embed/>
                </p:oleObj>
              </mc:Choice>
              <mc:Fallback>
                <p:oleObj name="think-cell 幻灯片" r:id="rId4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Item comparison: Football field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66606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line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1C9B311D-746D-6F2D-9A02-90B471D2D7B0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471805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0B43FE98-258D-A466-94CD-C4B52B78F8F7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04946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35513A7A-48E2-4FCC-FED6-19015EE8BC3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38505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0D4C6E1-8FE8-6D25-8B5A-9CD69FDB39A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271621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D6FD5E2B-AD8D-37B1-2BF5-76E30580678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38480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0BE03034-D2DF-43C7-2C5F-BB2E2D488DF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38296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3854BE35-ACEF-3F87-5B23-B578E49FC021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671830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4C2CB354-8D46-930D-5073-0E44D429835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404971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8CFCBAAA-0D61-5011-1E57-BBFEE5E093D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05155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A9796E3C-F70D-59AF-5BC5-AE472ED67C6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805180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id="{BCAB99E5-CE4C-448E-A358-9EC1A58C74EF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05883801"/>
              </p:ext>
            </p:extLst>
          </p:nvPr>
        </p:nvGraphicFramePr>
        <p:xfrm>
          <a:off x="1300163" y="1833563"/>
          <a:ext cx="6834187" cy="410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60650" y="1860550"/>
            <a:ext cx="111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5C1511-F1D0-4265-ADA2-BE6683D00AC0}" type="datetime'''''''''''''''''''''''''2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28987" y="1860550"/>
            <a:ext cx="109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C3B6F5-8A7E-44CA-9993-89C3E88095ED}" type="datetime'''''''''''''''''''''''''''''''''3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992562" y="1860550"/>
            <a:ext cx="114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41C7BE-61C6-44BF-B648-95CDEB1AFC09}" type="datetime'''''''''''''''''''''''''''''''''''''''''''''''''4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62488" y="1860550"/>
            <a:ext cx="112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FFAE409-FF33-4C60-A627-7E953175A438}" type="datetime'''''''''''''''''''''''''5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29238" y="1860550"/>
            <a:ext cx="111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CAF380-766C-4337-99CE-FA904FFFDD1C}" type="datetime'''''''''''''''''''''''''''''''6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003925" y="1860550"/>
            <a:ext cx="96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793146B-31C3-4070-922C-0BAA6B7197C9}" type="datetime'''''''''''''''''''''''''''''''''''''''7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661149" y="1860550"/>
            <a:ext cx="114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961E63-88B3-4341-B64C-B927C83A2D4B}" type="datetime'''''''''''''''''''''''''''''''8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329488" y="1860550"/>
            <a:ext cx="111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04E636-8D1D-4B2F-B0EF-CFAA89EF1B2F}" type="datetime'''''''''9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325562" y="1860550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CA5544-C63A-4EC8-BD16-29D4AD3D61E9}" type="datetime'0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012950" y="1860550"/>
            <a:ext cx="74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1CFE5C-BF2C-4720-AAF5-BC63A7476938}" type="datetime'''''''''''''1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956550" y="1860550"/>
            <a:ext cx="190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C3D82F-C9B2-4D4F-868E-F0E734913DF9}" type="datetime'''''''''1''''''''''''''''''''''''''''''''''''''''''''0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86F3D0AE-178E-A8EF-EF03-BD5183B9D25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 rot="16200000">
            <a:off x="4186238" y="56737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2AD2600-E60E-7C85-8B4F-309DB0C814D9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249738" y="2139950"/>
            <a:ext cx="0" cy="34956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E5350443-F79A-62B1-4C54-F37C5ADE229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 rot="16200000">
            <a:off x="5654675" y="56737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0A4B1F-D22D-9586-748B-7BA2C939C2E7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5718175" y="2139950"/>
            <a:ext cx="0" cy="34956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7F1583A2-1E99-C57C-725C-7B7A7574F29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051550" y="2762250"/>
            <a:ext cx="0" cy="11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03BBEC4C-E211-0F56-F0A0-968A5D0C9B5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051425" y="5257800"/>
            <a:ext cx="0" cy="11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895974" y="2549525"/>
            <a:ext cx="3127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1F7C27-0D55-4804-A8D8-D2BC8AD37E6F}" type="datetime'''''''''''''''''''''''''''''''7''''.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54013" y="2782888"/>
            <a:ext cx="911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7CB2E-26E0-405E-8636-28EE171A6CEB}" type="datetime'''''''C''''r''iter''i''''''o''''''''''''n'' ''''''''''''B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B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44487" y="3281363"/>
            <a:ext cx="920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1D53C23-0F35-4307-B486-C3E7932ED4CF}" type="datetime'''''C''ri''''''ter''i''''''''''''''on ''C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C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 useBgFill="1"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54538" y="3548063"/>
            <a:ext cx="3286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84E01F-CCAB-4D0B-BD13-38C1C87F5B45}" type="datetime'''''''5''''''''''''''''''''''''''''''''''''''''.''''''''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352D69E9-F85E-4926-DD99-337F4B0F8F1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41313" y="3781425"/>
            <a:ext cx="923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29F801-B8FA-42ED-AF87-05841E9AD962}" type="datetime'''C''''r''''''''i''''''''''t''''e''''r''''''i''''on D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D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63538" y="4279900"/>
            <a:ext cx="901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D6B63F-24DF-4FAA-80AC-E54E6DDF4106}" type="datetime'C''r''''''''''''''''''''''''''it''''''e''r''''i''o''n'''''' E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66713" y="4779963"/>
            <a:ext cx="8985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0335FB-F87D-41E2-A75A-B2EEB92AE773}" type="datetime'''''''''''''''''Cr''''it''er''''''i''on'''''' ''''''''F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F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38138" y="5278438"/>
            <a:ext cx="927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B7CBEA-E191-4A8C-9977-BB1FCF5F818C}" type="datetime'''''''''''''C''''r''i''te''r''''''ion'''''''''' ''''''''''G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G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113212" y="5865813"/>
            <a:ext cx="273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0F422A-DB17-4207-BACF-973D4B9271EE}" type="datetime'''''''''''''''''''''''''4''''''''''''''''.3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581649" y="5865813"/>
            <a:ext cx="273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35730D-D34C-4F69-9A93-0654C583F35E}" type="datetime'''''''''6''''.''''''5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50837" y="2282825"/>
            <a:ext cx="914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D0F0FB-4E87-42F7-B38B-796C2E85445F}" type="datetime'''''Cr''''''''''''''it''e''''''''''''''''r''i''o''''''''n ''A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iterion A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3F1FC1-F827-5533-D888-03A711A464B4}"/>
              </a:ext>
            </a:extLst>
          </p:cNvPr>
          <p:cNvSpPr>
            <a:spLocks/>
          </p:cNvSpPr>
          <p:nvPr/>
        </p:nvSpPr>
        <p:spPr>
          <a:xfrm>
            <a:off x="8811108" y="-2098653"/>
            <a:ext cx="4575600" cy="26580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profile line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reate a football field chart</a:t>
            </a:r>
            <a:r>
              <a:rPr lang="en-US" sz="1200">
                <a:solidFill>
                  <a:schemeClr val="tx1"/>
                </a:solidFill>
              </a:rPr>
              <a:t>, first insert a profile lin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Next, 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bar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's datasheet, enter a series representing the min. values and a series representing the max. values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, select both series' lines. Right-click to open the context menu.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Error Bars</a:t>
            </a:r>
            <a:r>
              <a:rPr lang="en-US" sz="1200">
                <a:solidFill>
                  <a:schemeClr val="tx1"/>
                </a:solidFill>
                <a:cs typeface="Arial"/>
              </a:rPr>
              <a:t>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Click the bars to open the mini toolbar. Adjust the thickness and color of the bars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Finally, 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marker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datasheet, enter a series representing the marker values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, click the series line to open the mini toolbar.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No Line</a:t>
            </a:r>
            <a:r>
              <a:rPr lang="en-US" sz="1200">
                <a:solidFill>
                  <a:schemeClr val="tx1"/>
                </a:solidFill>
                <a:cs typeface="Arial"/>
              </a:rPr>
              <a:t>. Add markers, and style as desired.</a:t>
            </a:r>
          </a:p>
        </p:txBody>
      </p:sp>
    </p:spTree>
    <p:extLst>
      <p:ext uri="{BB962C8B-B14F-4D97-AF65-F5344CB8AC3E}">
        <p14:creationId xmlns:p14="http://schemas.microsoft.com/office/powerpoint/2010/main" val="58748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RRrT0i6yj2jDL8iBRulg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5JEy90liz3CRLKE6C3kQ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.bTRYXLwNN30vy2dAyiw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rgxt14eIxRPhc6T8US2g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cbVgh9Cb3CnZuS04NSw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vGczTUIfOKky3YIslbz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49XQPfE.YertnQ53KDgA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3txbxzSgo5JKhW17b58A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_Zoz13yHktbLks0o8TXA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bn_DIH1DDgT_G_tdIUBg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270lcxofcd06LGSZ0tYQ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oMJYEYK1uzCaBlal5qqQ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1qxwPu0mO_v_xUqRvCTA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DHHWraJ2SNZdPmRb4FfQ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sltFpNo1ZUjbpsQcDkjQ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x0rk_k38wycHfLnjgVKw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bveDybZYQpcNenM9mmmQ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hrBKnAdlgW0D4VUYbhQ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h.gYVK.oYL0eS7qNHFA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FzcKOjTQxmkUv5_y.y3w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ikqHObPt9rvecRougdG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ERyzqYRVtLOEbMEamYvw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IzXuicPgtKHtR3E.cCw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uFuJSXpwMcViVpUiH0Uw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DXBh4jJamFDDKunkdKag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WpyDbvUo2MA19Ace1mAw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b8XfPk7Ix0g3ZY2kDLYg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_cvJ_9C32JQAzMGDo2JA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75102xfAde1OEmlyFDjg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1CEQVKjN98cJdMz5IE1g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CXDDFON6swJHt_pk.Qmw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XMnNE1setN_NMihrLqzg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yaM67JemT6U3bQLo2Xw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7IHEFkXQr5m8m2e0Tdow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_wRiSkG9BWcYQ4D13dFw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xKB5dZwX.XFbiGv6OJOQ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.tANAWt6lGr2wsX21U4A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4C4Clq00k6Z5TEtgUGCw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5WT.SM9VV.3WEIL0TW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